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C728284-8555-4E59-9FC2-1406343EC84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 Id="rId5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9877512716642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63263473784142</c:v>
                </c:pt>
                <c:pt idx="5">
                  <c:v>0.1160368808997292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8295757636371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61845691920356</c:v>
                </c:pt>
                <c:pt idx="5">
                  <c:v>0.163730218924132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816815505132706</c:v>
                </c:pt>
                <c:pt idx="5">
                  <c:v>0.151946074307905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321879439283184</c:v>
                </c:pt>
                <c:pt idx="5">
                  <c:v>0.021407743066198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051001612099551</c:v>
                </c:pt>
                <c:pt idx="5">
                  <c:v>0.001761751671902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629371159967929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47766500302136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00108857299419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15548853712874773</c:v>
                </c:pt>
                <c:pt idx="4">
                  <c:v>0.006883204111780446</c:v>
                </c:pt>
                <c:pt idx="5">
                  <c:v>0.300434347645288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3055523041582457</c:v>
                </c:pt>
                <c:pt idx="5">
                  <c:v>0.236131555846923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80016976405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442221515993181</c:v>
                </c:pt>
                <c:pt idx="5">
                  <c:v>0.0209867985697152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750055651194096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330067036995913</c:v>
                </c:pt>
                <c:pt idx="5">
                  <c:v>0.111003882989870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0781107858644536</c:v>
                </c:pt>
                <c:pt idx="4">
                  <c:v>0.1669734080953566</c:v>
                </c:pt>
                <c:pt idx="5">
                  <c:v>0.177046385655284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501135985820674</c:v>
                </c:pt>
                <c:pt idx="5">
                  <c:v>0.1528120596483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594372526170016</c:v>
                </c:pt>
                <c:pt idx="5">
                  <c:v>0.0217303043017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442221515993181</c:v>
                </c:pt>
                <c:pt idx="5">
                  <c:v>0.0209867985697152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15441189430639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330067036995913</c:v>
                </c:pt>
                <c:pt idx="5">
                  <c:v>0.111003882989870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997451218371447</c:v>
                </c:pt>
                <c:pt idx="5">
                  <c:v>0.086989431338927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38026092040566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63263473784142</c:v>
                </c:pt>
                <c:pt idx="5">
                  <c:v>0.1160368808997292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61845691920356</c:v>
                </c:pt>
                <c:pt idx="5">
                  <c:v>0.163730218924132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816815505132706</c:v>
                </c:pt>
                <c:pt idx="5">
                  <c:v>0.151946074307905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967066487403292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321879439283184</c:v>
                </c:pt>
                <c:pt idx="5">
                  <c:v>0.021407743066198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0781107858644536</c:v>
                </c:pt>
                <c:pt idx="4">
                  <c:v>0.1669734080953566</c:v>
                </c:pt>
                <c:pt idx="5">
                  <c:v>0.177046385655284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501135985820674</c:v>
                </c:pt>
                <c:pt idx="5">
                  <c:v>0.1528120596483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051001612099551</c:v>
                </c:pt>
                <c:pt idx="5">
                  <c:v>0.001761751671902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25362583539213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47766500302136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15548853712874773</c:v>
                </c:pt>
                <c:pt idx="4">
                  <c:v>0.006883204111780446</c:v>
                </c:pt>
                <c:pt idx="5">
                  <c:v>0.300434347645288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3055523041582457</c:v>
                </c:pt>
                <c:pt idx="5">
                  <c:v>0.236131555846923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80016976405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594372526170016</c:v>
                </c:pt>
                <c:pt idx="5">
                  <c:v>0.0217303043017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442221515993181</c:v>
                </c:pt>
                <c:pt idx="5">
                  <c:v>0.02098679856971528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330067036995913</c:v>
                </c:pt>
                <c:pt idx="5">
                  <c:v>0.111003882989870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5246847757692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0781107858644536</c:v>
                </c:pt>
                <c:pt idx="4">
                  <c:v>0.1669734080953566</c:v>
                </c:pt>
                <c:pt idx="5">
                  <c:v>0.177046385655284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407683886044822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501135985820674</c:v>
                </c:pt>
                <c:pt idx="5">
                  <c:v>0.15281205964834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8151937470294337</c:v>
                </c:pt>
                <c:pt idx="4">
                  <c:v>0.36698207522821724</c:v>
                </c:pt>
                <c:pt idx="5">
                  <c:v>0.62920181039548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594372526170016</c:v>
                </c:pt>
                <c:pt idx="5">
                  <c:v>0.02173030430175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3708296116498</c:v>
                </c:pt>
                <c:pt idx="4">
                  <c:v>0.09225994020022601</c:v>
                </c:pt>
                <c:pt idx="5">
                  <c:v>0.0609001073223188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997451218371447</c:v>
                </c:pt>
                <c:pt idx="5">
                  <c:v>0.086989431338927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63263473784142</c:v>
                </c:pt>
                <c:pt idx="5">
                  <c:v>0.1160368808997292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68193578331455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61845691920356</c:v>
                </c:pt>
                <c:pt idx="5">
                  <c:v>0.1637302189241321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533776665488491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816815505132706</c:v>
                </c:pt>
                <c:pt idx="5">
                  <c:v>0.1519460743079051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321879439283184</c:v>
                </c:pt>
                <c:pt idx="5">
                  <c:v>0.02140774306619828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107162037077681</c:v>
                </c:pt>
                <c:pt idx="5">
                  <c:v>0.0875133414534721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2</c:v>
                </c:pt>
                <c:pt idx="5">
                  <c:v>0.933873421229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051001612099551</c:v>
                </c:pt>
                <c:pt idx="5">
                  <c:v>0.001761751671902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47766500302136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99452923086232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15548853712874773</c:v>
                </c:pt>
                <c:pt idx="4">
                  <c:v>0.006883204111780446</c:v>
                </c:pt>
                <c:pt idx="5">
                  <c:v>0.3004343476452882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41751487216473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3055523041582457</c:v>
                </c:pt>
                <c:pt idx="5">
                  <c:v>0.236131555846923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854625576193299</c:v>
                </c:pt>
                <c:pt idx="4">
                  <c:v>0.9575296628105462</c:v>
                </c:pt>
                <c:pt idx="5">
                  <c:v>0.01392227021538285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80016976405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2997402049058216</c:v>
                </c:pt>
                <c:pt idx="4">
                  <c:v>0.1318072259187976</c:v>
                </c:pt>
                <c:pt idx="5">
                  <c:v>0.00168769896991880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997451218371447</c:v>
                </c:pt>
                <c:pt idx="5">
                  <c:v>0.0869894313389275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1.xml"/><Relationship Id="rId7" Type="http://schemas.openxmlformats.org/officeDocument/2006/relationships/chart" Target="../charts/chart542.xml"/><Relationship Id="rId8" Type="http://schemas.openxmlformats.org/officeDocument/2006/relationships/chart" Target="../charts/chart543.xml"/><Relationship Id="rId9" Type="http://schemas.openxmlformats.org/officeDocument/2006/relationships/chart" Target="../charts/chart544.xml"/><Relationship Id="rId10" Type="http://schemas.openxmlformats.org/officeDocument/2006/relationships/chart" Target="../charts/chart545.xml"/><Relationship Id="rId11" Type="http://schemas.openxmlformats.org/officeDocument/2006/relationships/chart" Target="../charts/chart546.xml"/><Relationship Id="rId12" Type="http://schemas.openxmlformats.org/officeDocument/2006/relationships/chart" Target="../charts/chart547.xml"/><Relationship Id="rId13" Type="http://schemas.openxmlformats.org/officeDocument/2006/relationships/chart" Target="../charts/chart548.xml"/><Relationship Id="rId14" Type="http://schemas.openxmlformats.org/officeDocument/2006/relationships/chart" Target="../charts/chart549.xml"/><Relationship Id="rId15" Type="http://schemas.openxmlformats.org/officeDocument/2006/relationships/chart" Target="../charts/chart550.xml"/><Relationship Id="rId16" Type="http://schemas.openxmlformats.org/officeDocument/2006/relationships/chart" Target="../charts/chart551.xml"/><Relationship Id="rId17" Type="http://schemas.openxmlformats.org/officeDocument/2006/relationships/chart" Target="../charts/chart55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3.xml"/><Relationship Id="rId7" Type="http://schemas.openxmlformats.org/officeDocument/2006/relationships/chart" Target="../charts/chart554.xml"/><Relationship Id="rId8" Type="http://schemas.openxmlformats.org/officeDocument/2006/relationships/chart" Target="../charts/chart555.xml"/><Relationship Id="rId9" Type="http://schemas.openxmlformats.org/officeDocument/2006/relationships/chart" Target="../charts/chart556.xml"/><Relationship Id="rId10" Type="http://schemas.openxmlformats.org/officeDocument/2006/relationships/chart" Target="../charts/chart557.xml"/><Relationship Id="rId11" Type="http://schemas.openxmlformats.org/officeDocument/2006/relationships/chart" Target="../charts/chart558.xml"/><Relationship Id="rId12" Type="http://schemas.openxmlformats.org/officeDocument/2006/relationships/chart" Target="../charts/chart559.xml"/><Relationship Id="rId13" Type="http://schemas.openxmlformats.org/officeDocument/2006/relationships/chart" Target="../charts/chart560.xml"/><Relationship Id="rId14" Type="http://schemas.openxmlformats.org/officeDocument/2006/relationships/chart" Target="../charts/chart561.xml"/><Relationship Id="rId15" Type="http://schemas.openxmlformats.org/officeDocument/2006/relationships/chart" Target="../charts/chart562.xml"/><Relationship Id="rId16" Type="http://schemas.openxmlformats.org/officeDocument/2006/relationships/chart" Target="../charts/chart563.xml"/><Relationship Id="rId17" Type="http://schemas.openxmlformats.org/officeDocument/2006/relationships/chart" Target="../charts/chart56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 Id="rId7" Type="http://schemas.openxmlformats.org/officeDocument/2006/relationships/chart" Target="../charts/chart566.xml"/><Relationship Id="rId8" Type="http://schemas.openxmlformats.org/officeDocument/2006/relationships/chart" Target="../charts/chart567.xml"/><Relationship Id="rId9" Type="http://schemas.openxmlformats.org/officeDocument/2006/relationships/chart" Target="../charts/chart568.xml"/><Relationship Id="rId10" Type="http://schemas.openxmlformats.org/officeDocument/2006/relationships/chart" Target="../charts/chart569.xml"/><Relationship Id="rId11" Type="http://schemas.openxmlformats.org/officeDocument/2006/relationships/chart" Target="../charts/chart570.xml"/><Relationship Id="rId12" Type="http://schemas.openxmlformats.org/officeDocument/2006/relationships/chart" Target="../charts/chart571.xml"/><Relationship Id="rId13" Type="http://schemas.openxmlformats.org/officeDocument/2006/relationships/chart" Target="../charts/chart572.xml"/><Relationship Id="rId14" Type="http://schemas.openxmlformats.org/officeDocument/2006/relationships/chart" Target="../charts/chart573.xml"/><Relationship Id="rId15" Type="http://schemas.openxmlformats.org/officeDocument/2006/relationships/chart" Target="../charts/chart574.xml"/><Relationship Id="rId16" Type="http://schemas.openxmlformats.org/officeDocument/2006/relationships/chart" Target="../charts/chart575.xml"/><Relationship Id="rId17" Type="http://schemas.openxmlformats.org/officeDocument/2006/relationships/chart" Target="../charts/chart57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70369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0812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227904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10287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64384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3585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32722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2475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0429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7700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43532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13351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474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6576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53605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0195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3920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73701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811008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72598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999071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42735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09319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0857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158084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68041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672143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293403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45050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13415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28241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66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99038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53479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6537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64518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601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39219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44364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6615689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172306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838676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32112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26133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511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164358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65216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29157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6672</Words>
  <Application>Microsoft Office PowerPoint</Application>
  <PresentationFormat>On-screen Show (16:9)</PresentationFormat>
  <Paragraphs>2016</Paragraphs>
  <Slides>48</Slides>
  <Notes>4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9"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